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093" r:id="rId4"/>
    <p:sldMasterId id="2147485108" r:id="rId5"/>
    <p:sldMasterId id="2147485135" r:id="rId6"/>
  </p:sldMasterIdLst>
  <p:notesMasterIdLst>
    <p:notesMasterId r:id="rId13"/>
  </p:notesMasterIdLst>
  <p:handoutMasterIdLst>
    <p:handoutMasterId r:id="rId14"/>
  </p:handoutMasterIdLst>
  <p:sldIdLst>
    <p:sldId id="3772" r:id="rId7"/>
    <p:sldId id="3823" r:id="rId8"/>
    <p:sldId id="3824" r:id="rId9"/>
    <p:sldId id="3825" r:id="rId10"/>
    <p:sldId id="3826" r:id="rId11"/>
    <p:sldId id="3811" r:id="rId12"/>
  </p:sldIdLst>
  <p:sldSz cx="9144000" cy="6858000" type="screen4x3"/>
  <p:notesSz cx="6797675" cy="9872663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9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9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9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9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9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9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9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9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56E00"/>
    <a:srgbClr val="2AA576"/>
    <a:srgbClr val="65CCE9"/>
    <a:srgbClr val="70DBFF"/>
    <a:srgbClr val="BCDDFF"/>
    <a:srgbClr val="004082"/>
    <a:srgbClr val="3598FF"/>
    <a:srgbClr val="00FF99"/>
    <a:srgbClr val="FFFFFF"/>
    <a:srgbClr val="0A2F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7975" autoAdjust="0"/>
    <p:restoredTop sz="93932" autoAdjust="0"/>
  </p:normalViewPr>
  <p:slideViewPr>
    <p:cSldViewPr snapToGrid="0">
      <p:cViewPr varScale="1">
        <p:scale>
          <a:sx n="75" d="100"/>
          <a:sy n="75" d="100"/>
        </p:scale>
        <p:origin x="-1872" y="-84"/>
      </p:cViewPr>
      <p:guideLst>
        <p:guide orient="horz" pos="64"/>
        <p:guide orient="horz" pos="1230"/>
        <p:guide orient="horz" pos="3407"/>
        <p:guide pos="4049"/>
        <p:guide pos="640"/>
        <p:guide pos="250"/>
        <p:guide pos="2698"/>
        <p:guide pos="1723"/>
        <p:guide pos="4475"/>
        <p:guide pos="5539"/>
        <p:guide pos="6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62"/>
    </p:cViewPr>
  </p:sorterViewPr>
  <p:notesViewPr>
    <p:cSldViewPr snapToGrid="0">
      <p:cViewPr varScale="1">
        <p:scale>
          <a:sx n="84" d="100"/>
          <a:sy n="84" d="100"/>
        </p:scale>
        <p:origin x="-3108" y="-78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0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042" tIns="44024" rIns="88042" bIns="44024" numCol="1" anchor="t" anchorCtr="0" compatLnSpc="1">
            <a:prstTxWarp prst="textNoShape">
              <a:avLst/>
            </a:prstTxWarp>
          </a:bodyPr>
          <a:lstStyle>
            <a:lvl1pPr defTabSz="879475">
              <a:defRPr sz="1200" b="0"/>
            </a:lvl1pPr>
          </a:lstStyle>
          <a:p>
            <a:endParaRPr lang="en-US" dirty="0"/>
          </a:p>
        </p:txBody>
      </p:sp>
      <p:sp>
        <p:nvSpPr>
          <p:cNvPr id="404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862" y="0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042" tIns="44024" rIns="88042" bIns="44024" numCol="1" anchor="t" anchorCtr="0" compatLnSpc="1">
            <a:prstTxWarp prst="textNoShape">
              <a:avLst/>
            </a:prstTxWarp>
          </a:bodyPr>
          <a:lstStyle>
            <a:lvl1pPr algn="r" defTabSz="879475">
              <a:defRPr sz="1200" b="0"/>
            </a:lvl1pPr>
          </a:lstStyle>
          <a:p>
            <a:endParaRPr lang="en-US" dirty="0"/>
          </a:p>
        </p:txBody>
      </p:sp>
      <p:sp>
        <p:nvSpPr>
          <p:cNvPr id="404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6" y="9378181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042" tIns="44024" rIns="88042" bIns="44024" numCol="1" anchor="b" anchorCtr="0" compatLnSpc="1">
            <a:prstTxWarp prst="textNoShape">
              <a:avLst/>
            </a:prstTxWarp>
          </a:bodyPr>
          <a:lstStyle>
            <a:lvl1pPr defTabSz="879475">
              <a:defRPr sz="1200" b="0"/>
            </a:lvl1pPr>
          </a:lstStyle>
          <a:p>
            <a:endParaRPr lang="en-US" dirty="0"/>
          </a:p>
        </p:txBody>
      </p:sp>
      <p:sp>
        <p:nvSpPr>
          <p:cNvPr id="404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862" y="9378181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042" tIns="44024" rIns="88042" bIns="44024" numCol="1" anchor="b" anchorCtr="0" compatLnSpc="1">
            <a:prstTxWarp prst="textNoShape">
              <a:avLst/>
            </a:prstTxWarp>
          </a:bodyPr>
          <a:lstStyle>
            <a:lvl1pPr algn="r" defTabSz="879475">
              <a:defRPr sz="1200" b="0"/>
            </a:lvl1pPr>
          </a:lstStyle>
          <a:p>
            <a:fld id="{6DF532D3-1478-4BCD-A6CE-FC36FCA761C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6122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0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067" tIns="46537" rIns="93067" bIns="46537" numCol="1" anchor="t" anchorCtr="0" compatLnSpc="1">
            <a:prstTxWarp prst="textNoShape">
              <a:avLst/>
            </a:prstTxWarp>
          </a:bodyPr>
          <a:lstStyle>
            <a:lvl1pPr defTabSz="930275">
              <a:defRPr sz="1300" b="0"/>
            </a:lvl1pPr>
          </a:lstStyle>
          <a:p>
            <a:endParaRPr lang="en-US" dirty="0"/>
          </a:p>
        </p:txBody>
      </p:sp>
      <p:sp>
        <p:nvSpPr>
          <p:cNvPr id="1187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862" y="0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067" tIns="46537" rIns="93067" bIns="46537" numCol="1" anchor="t" anchorCtr="0" compatLnSpc="1">
            <a:prstTxWarp prst="textNoShape">
              <a:avLst/>
            </a:prstTxWarp>
          </a:bodyPr>
          <a:lstStyle>
            <a:lvl1pPr algn="r" defTabSz="930275">
              <a:defRPr sz="1300" b="0"/>
            </a:lvl1pPr>
          </a:lstStyle>
          <a:p>
            <a:endParaRPr lang="en-US" dirty="0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41363"/>
            <a:ext cx="4937125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87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384" y="4689940"/>
            <a:ext cx="5436908" cy="444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067" tIns="46537" rIns="93067" bIns="465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87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9378181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067" tIns="46537" rIns="93067" bIns="46537" numCol="1" anchor="b" anchorCtr="0" compatLnSpc="1">
            <a:prstTxWarp prst="textNoShape">
              <a:avLst/>
            </a:prstTxWarp>
          </a:bodyPr>
          <a:lstStyle>
            <a:lvl1pPr defTabSz="930275">
              <a:defRPr sz="1300" b="0"/>
            </a:lvl1pPr>
          </a:lstStyle>
          <a:p>
            <a:endParaRPr lang="en-US" dirty="0"/>
          </a:p>
        </p:txBody>
      </p:sp>
      <p:sp>
        <p:nvSpPr>
          <p:cNvPr id="1187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862" y="9378181"/>
            <a:ext cx="2946275" cy="49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067" tIns="46537" rIns="93067" bIns="46537" numCol="1" anchor="b" anchorCtr="0" compatLnSpc="1">
            <a:prstTxWarp prst="textNoShape">
              <a:avLst/>
            </a:prstTxWarp>
          </a:bodyPr>
          <a:lstStyle>
            <a:lvl1pPr algn="r" defTabSz="930275">
              <a:defRPr sz="1300" b="0"/>
            </a:lvl1pPr>
          </a:lstStyle>
          <a:p>
            <a:fld id="{CBFFDDB7-93CE-43EB-BD5E-5AE156ECDC7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1878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FFDDB7-93CE-43EB-BD5E-5AE156ECDC7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060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038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7838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620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6526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627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7409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Mark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334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17594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071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553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6" descr="ssga_updt_cover_btm_09280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375"/>
            <a:ext cx="91440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1"/>
          <p:cNvSpPr>
            <a:spLocks noChangeArrowheads="1"/>
          </p:cNvSpPr>
          <p:nvPr userDrawn="1"/>
        </p:nvSpPr>
        <p:spPr bwMode="auto">
          <a:xfrm>
            <a:off x="6992938" y="6537325"/>
            <a:ext cx="21336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fld id="{B3D14FB5-54E9-4368-9550-387A2A0900D1}" type="slidenum">
              <a:rPr lang="en-US" altLang="zh-CN" sz="800" b="0" smtClean="0">
                <a:solidFill>
                  <a:srgbClr val="0055AD"/>
                </a:solidFill>
                <a:ea typeface="宋体" pitchFamily="2" charset="-122"/>
              </a:rPr>
              <a:pPr algn="r" eaLnBrk="1" hangingPunct="1">
                <a:defRPr/>
              </a:pPr>
              <a:t>‹#›</a:t>
            </a:fld>
            <a:endParaRPr lang="en-US" altLang="zh-CN" sz="800" b="0" dirty="0" smtClean="0">
              <a:solidFill>
                <a:srgbClr val="0055AD"/>
              </a:solidFill>
              <a:ea typeface="宋体" pitchFamily="2" charset="-122"/>
            </a:endParaRPr>
          </a:p>
        </p:txBody>
      </p:sp>
      <p:pic>
        <p:nvPicPr>
          <p:cNvPr id="6" name="Picture 68" descr="ssga_updt_break_09280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1" descr="SSGA_BUG_RGB_293_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988" y="5526088"/>
            <a:ext cx="841375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769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2055815"/>
            <a:ext cx="8232775" cy="430887"/>
          </a:xfrm>
          <a:extLst/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2769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3656013"/>
            <a:ext cx="8232775" cy="1752600"/>
          </a:xfrm>
          <a:extLst/>
        </p:spPr>
        <p:txBody>
          <a:bodyPr tIns="0"/>
          <a:lstStyle>
            <a:lvl1pPr marL="0" indent="0">
              <a:lnSpc>
                <a:spcPct val="90000"/>
              </a:lnSpc>
              <a:spcBef>
                <a:spcPct val="0"/>
              </a:spcBef>
              <a:buFontTx/>
              <a:buNone/>
              <a:defRPr sz="20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96665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866870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6121185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4" y="1727202"/>
            <a:ext cx="404018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27202"/>
            <a:ext cx="4040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50991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034122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806371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34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2154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64742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9548"/>
            <a:ext cx="3008313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032301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059562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8992312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9657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80611" y="1030290"/>
            <a:ext cx="307777" cy="52228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030290"/>
            <a:ext cx="6022975" cy="52228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585462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1030288"/>
            <a:ext cx="8232775" cy="304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727202"/>
            <a:ext cx="8232775" cy="452596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14707479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1030288"/>
            <a:ext cx="8232775" cy="304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5613" y="1727202"/>
            <a:ext cx="8232775" cy="452596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29554871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863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2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6766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204" name="Picture 12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485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2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7" name="Picture 41" descr="SSGS_state_street_logo_mod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67" y="179602"/>
            <a:ext cx="17176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688868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65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76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0">
            <a:normAutofit/>
          </a:bodyPr>
          <a:lstStyle>
            <a:lvl1pPr marL="166688" indent="-16668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4218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Mark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31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38369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822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00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45302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Page_Line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686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4604197" cy="4525963"/>
          </a:xfrm>
          <a:prstGeom prst="rect">
            <a:avLst/>
          </a:prstGeom>
        </p:spPr>
        <p:txBody>
          <a:bodyPr lIns="0">
            <a:normAutofit/>
          </a:bodyPr>
          <a:lstStyle>
            <a:lvl1pPr marL="166688" indent="-16668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7579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io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600" y="1600200"/>
            <a:ext cx="5410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200" y="3505200"/>
            <a:ext cx="22860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57200" y="3729722"/>
            <a:ext cx="2286000" cy="30583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400">
                <a:solidFill>
                  <a:schemeClr val="accent1"/>
                </a:solidFill>
              </a:defRPr>
            </a:lvl1pPr>
            <a:lvl2pPr marL="457200" indent="0" algn="ctr">
              <a:buFontTx/>
              <a:buNone/>
              <a:defRPr sz="1400">
                <a:solidFill>
                  <a:schemeClr val="accent1"/>
                </a:solidFill>
              </a:defRPr>
            </a:lvl2pPr>
            <a:lvl3pPr marL="914400" indent="0" algn="ctr">
              <a:buFontTx/>
              <a:buNone/>
              <a:defRPr sz="1400">
                <a:solidFill>
                  <a:schemeClr val="accent1"/>
                </a:solidFill>
              </a:defRPr>
            </a:lvl3pPr>
            <a:lvl4pPr marL="1371600" indent="0" algn="ctr"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 algn="ctr">
              <a:buFontTx/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16831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Bio'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600" y="1600201"/>
            <a:ext cx="5410200" cy="1981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200" y="2971800"/>
            <a:ext cx="22860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05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57200" y="3124200"/>
            <a:ext cx="2286000" cy="30583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050">
                <a:solidFill>
                  <a:schemeClr val="accent1"/>
                </a:solidFill>
              </a:defRPr>
            </a:lvl1pPr>
            <a:lvl2pPr marL="457200" indent="0" algn="ctr">
              <a:buFontTx/>
              <a:buNone/>
              <a:defRPr sz="1400">
                <a:solidFill>
                  <a:schemeClr val="accent1"/>
                </a:solidFill>
              </a:defRPr>
            </a:lvl2pPr>
            <a:lvl3pPr marL="914400" indent="0" algn="ctr">
              <a:buFontTx/>
              <a:buNone/>
              <a:defRPr sz="1400">
                <a:solidFill>
                  <a:schemeClr val="accent1"/>
                </a:solidFill>
              </a:defRPr>
            </a:lvl3pPr>
            <a:lvl4pPr marL="1371600" indent="0" algn="ctr"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 algn="ctr">
              <a:buFontTx/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5040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731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4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56600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Global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96" name="Picture 680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6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72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 anchor="t"/>
          <a:lstStyle>
            <a:lvl1pPr algn="l">
              <a:defRPr sz="3300" b="0" cap="none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825496"/>
            <a:ext cx="6019800" cy="1755648"/>
          </a:xfrm>
          <a:prstGeom prst="rect">
            <a:avLst/>
          </a:prstGeom>
        </p:spPr>
        <p:txBody>
          <a:bodyPr l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4048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40ACCCA-BA74-4365-B59A-A0032200AB59}" type="slidenum">
              <a:rPr b="0">
                <a:solidFill>
                  <a:srgbClr val="A5A5A5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dirty="0">
              <a:solidFill>
                <a:srgbClr val="A5A5A5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rgbClr val="969696"/>
                </a:solidFill>
              </a:defRPr>
            </a:lvl2pPr>
            <a:lvl3pPr marL="914400" indent="0">
              <a:buFontTx/>
              <a:buNone/>
              <a:defRPr sz="1000">
                <a:solidFill>
                  <a:srgbClr val="969696"/>
                </a:solidFill>
              </a:defRPr>
            </a:lvl3pPr>
            <a:lvl4pPr marL="1371600" indent="0">
              <a:buFontTx/>
              <a:buNone/>
              <a:defRPr sz="1000">
                <a:solidFill>
                  <a:srgbClr val="969696"/>
                </a:solidFill>
              </a:defRPr>
            </a:lvl4pPr>
            <a:lvl5pPr marL="1828800" indent="0">
              <a:buFontTx/>
              <a:buNone/>
              <a:defRPr sz="1000">
                <a:solidFill>
                  <a:srgbClr val="96969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261523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lobal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032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0"/>
            <a:ext cx="6019800" cy="786384"/>
          </a:xfrm>
          <a:prstGeom prst="rect">
            <a:avLst/>
          </a:prstGeom>
        </p:spPr>
        <p:txBody>
          <a:bodyPr lIns="0"/>
          <a:lstStyle>
            <a:lvl1pPr algn="l">
              <a:defRPr sz="33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825496"/>
            <a:ext cx="6019800" cy="175260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48056" y="6263640"/>
            <a:ext cx="66751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7598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549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0">
            <a:normAutofit/>
          </a:bodyPr>
          <a:lstStyle>
            <a:lvl1pPr marL="166688" indent="-16668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498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095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88496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Page_Line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272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4604197" cy="4525963"/>
          </a:xfrm>
          <a:prstGeom prst="rect">
            <a:avLst/>
          </a:prstGeom>
        </p:spPr>
        <p:txBody>
          <a:bodyPr lIns="0">
            <a:normAutofit/>
          </a:bodyPr>
          <a:lstStyle>
            <a:lvl1pPr marL="166688" indent="-16668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4598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io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600" y="1600200"/>
            <a:ext cx="5410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200" y="3505200"/>
            <a:ext cx="2286000" cy="228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57200" y="3729722"/>
            <a:ext cx="2286000" cy="30583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400">
                <a:solidFill>
                  <a:schemeClr val="accent1"/>
                </a:solidFill>
              </a:defRPr>
            </a:lvl1pPr>
            <a:lvl2pPr marL="457200" indent="0" algn="ctr">
              <a:buFontTx/>
              <a:buNone/>
              <a:defRPr sz="1400">
                <a:solidFill>
                  <a:schemeClr val="accent1"/>
                </a:solidFill>
              </a:defRPr>
            </a:lvl2pPr>
            <a:lvl3pPr marL="914400" indent="0" algn="ctr">
              <a:buFontTx/>
              <a:buNone/>
              <a:defRPr sz="1400">
                <a:solidFill>
                  <a:schemeClr val="accent1"/>
                </a:solidFill>
              </a:defRPr>
            </a:lvl3pPr>
            <a:lvl4pPr marL="1371600" indent="0" algn="ctr"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 algn="ctr">
              <a:buFontTx/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 marL="457200" indent="0">
              <a:buFontTx/>
              <a:buNone/>
              <a:defRPr sz="1000">
                <a:solidFill>
                  <a:schemeClr val="accent5"/>
                </a:solidFill>
              </a:defRPr>
            </a:lvl2pPr>
            <a:lvl3pPr marL="914400" indent="0">
              <a:buFontTx/>
              <a:buNone/>
              <a:defRPr sz="1000">
                <a:solidFill>
                  <a:schemeClr val="accent5"/>
                </a:solidFill>
              </a:defRPr>
            </a:lvl3pPr>
            <a:lvl4pPr marL="1371600" indent="0">
              <a:buFontTx/>
              <a:buNone/>
              <a:defRPr sz="1000">
                <a:solidFill>
                  <a:schemeClr val="accent5"/>
                </a:solidFill>
              </a:defRPr>
            </a:lvl4pPr>
            <a:lvl5pPr marL="1828800" indent="0">
              <a:buFontTx/>
              <a:buNone/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896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Bio'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248" y="381000"/>
            <a:ext cx="8302752" cy="301752"/>
          </a:xfrm>
          <a:prstGeom prst="rect">
            <a:avLst/>
          </a:prstGeom>
        </p:spPr>
        <p:txBody>
          <a:bodyPr lIns="0" rIns="0" bIns="0" anchor="t" anchorCtr="0">
            <a:noAutofit/>
          </a:bodyPr>
          <a:lstStyle>
            <a:lvl1pPr algn="l">
              <a:lnSpc>
                <a:spcPts val="2200"/>
              </a:lnSpc>
              <a:defRPr sz="2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600" y="1600201"/>
            <a:ext cx="5410200" cy="1981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5938" indent="-17462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3600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96975" indent="-160338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6225" indent="-180975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002C5F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6291072"/>
            <a:ext cx="381000" cy="246221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>
            <a:lvl1pPr>
              <a:defRPr lang="en-US" sz="100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40ACCCA-BA74-4365-B59A-A0032200AB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758952"/>
            <a:ext cx="8305800" cy="219456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200" y="2971800"/>
            <a:ext cx="2286000" cy="1524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05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57200" y="3124200"/>
            <a:ext cx="2286000" cy="30583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1050">
                <a:solidFill>
                  <a:schemeClr val="accent1"/>
                </a:solidFill>
              </a:defRPr>
            </a:lvl1pPr>
            <a:lvl2pPr marL="457200" indent="0" algn="ctr">
              <a:buFontTx/>
              <a:buNone/>
              <a:defRPr sz="1400">
                <a:solidFill>
                  <a:schemeClr val="accent1"/>
                </a:solidFill>
              </a:defRPr>
            </a:lvl2pPr>
            <a:lvl3pPr marL="914400" indent="0" algn="ctr">
              <a:buFontTx/>
              <a:buNone/>
              <a:defRPr sz="1400">
                <a:solidFill>
                  <a:schemeClr val="accent1"/>
                </a:solidFill>
              </a:defRPr>
            </a:lvl3pPr>
            <a:lvl4pPr marL="1371600" indent="0" algn="ctr">
              <a:buFontTx/>
              <a:buNone/>
              <a:defRPr sz="1400">
                <a:solidFill>
                  <a:schemeClr val="accent1"/>
                </a:solidFill>
              </a:defRPr>
            </a:lvl4pPr>
            <a:lvl5pPr marL="1828800" indent="0" algn="ctr">
              <a:buFontTx/>
              <a:buNone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4400" y="6263640"/>
            <a:ext cx="6217920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  <a:lvl2pPr>
              <a:defRPr sz="1000">
                <a:solidFill>
                  <a:schemeClr val="accent5"/>
                </a:solidFill>
              </a:defRPr>
            </a:lvl2pPr>
            <a:lvl3pPr>
              <a:defRPr sz="1000">
                <a:solidFill>
                  <a:schemeClr val="accent5"/>
                </a:solidFill>
              </a:defRPr>
            </a:lvl3pPr>
            <a:lvl4pPr>
              <a:defRPr sz="1000">
                <a:solidFill>
                  <a:schemeClr val="accent5"/>
                </a:solidFill>
              </a:defRPr>
            </a:lvl4pPr>
            <a:lvl5pPr>
              <a:defRPr sz="10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4" t="91574" r="4375" b="4863"/>
          <a:stretch/>
        </p:blipFill>
        <p:spPr>
          <a:xfrm>
            <a:off x="7324724" y="6280149"/>
            <a:ext cx="1419225" cy="244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5396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79960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98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Picture 39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l" descr="Information Classification: Company Internal"/>
          <p:cNvSpPr txBox="1"/>
          <p:nvPr userDrawn="1"/>
        </p:nvSpPr>
        <p:spPr>
          <a:xfrm>
            <a:off x="0" y="6530340"/>
            <a:ext cx="9144000" cy="2308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900" b="0" i="0" u="none" baseline="0" smtClean="0">
                <a:solidFill>
                  <a:srgbClr val="000000"/>
                </a:solidFill>
                <a:latin typeface="Arial"/>
              </a:rPr>
              <a:t>Information Classification: Company Internal</a:t>
            </a:r>
            <a:endParaRPr lang="en-US" sz="900" b="0" i="0" u="none" baseline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6788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4" r:id="rId1"/>
    <p:sldLayoutId id="2147485095" r:id="rId2"/>
    <p:sldLayoutId id="2147485096" r:id="rId3"/>
    <p:sldLayoutId id="2147485097" r:id="rId4"/>
    <p:sldLayoutId id="2147485098" r:id="rId5"/>
    <p:sldLayoutId id="2147485099" r:id="rId6"/>
    <p:sldLayoutId id="2147485100" r:id="rId7"/>
    <p:sldLayoutId id="2147485101" r:id="rId8"/>
    <p:sldLayoutId id="2147485102" r:id="rId9"/>
    <p:sldLayoutId id="2147485103" r:id="rId10"/>
    <p:sldLayoutId id="2147485104" r:id="rId11"/>
    <p:sldLayoutId id="2147485105" r:id="rId12"/>
    <p:sldLayoutId id="2147485106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727200"/>
            <a:ext cx="8232775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9144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1030288"/>
            <a:ext cx="82327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8" name="Rectangle 23"/>
          <p:cNvSpPr>
            <a:spLocks noChangeArrowheads="1"/>
          </p:cNvSpPr>
          <p:nvPr userDrawn="1"/>
        </p:nvSpPr>
        <p:spPr bwMode="auto">
          <a:xfrm>
            <a:off x="6992938" y="6537325"/>
            <a:ext cx="21336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fld id="{950185A6-EECB-4E4B-A24A-A94F035D8637}" type="slidenum">
              <a:rPr lang="en-US" altLang="zh-CN" sz="800" b="0" smtClean="0">
                <a:solidFill>
                  <a:srgbClr val="0055AD"/>
                </a:solidFill>
                <a:ea typeface="宋体" pitchFamily="2" charset="-122"/>
              </a:rPr>
              <a:pPr algn="r" eaLnBrk="1" hangingPunct="1">
                <a:defRPr/>
              </a:pPr>
              <a:t>‹#›</a:t>
            </a:fld>
            <a:endParaRPr lang="en-US" altLang="zh-CN" sz="800" b="0" dirty="0" smtClean="0">
              <a:solidFill>
                <a:srgbClr val="0055AD"/>
              </a:solidFill>
              <a:ea typeface="宋体" pitchFamily="2" charset="-122"/>
            </a:endParaRPr>
          </a:p>
        </p:txBody>
      </p:sp>
      <p:pic>
        <p:nvPicPr>
          <p:cNvPr id="1031" name="Picture 41" descr="SSGS_state_street_logo_mod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206375"/>
            <a:ext cx="17176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l" descr="Information Classification: Company Internal"/>
          <p:cNvSpPr txBox="1"/>
          <p:nvPr userDrawn="1"/>
        </p:nvSpPr>
        <p:spPr>
          <a:xfrm>
            <a:off x="0" y="6530340"/>
            <a:ext cx="9144000" cy="2308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900" b="0" i="0" u="none" baseline="0" smtClean="0">
                <a:solidFill>
                  <a:srgbClr val="000000"/>
                </a:solidFill>
                <a:latin typeface="Arial"/>
              </a:rPr>
              <a:t>Information Classification: Company Internal</a:t>
            </a:r>
            <a:endParaRPr lang="en-US" sz="900" b="0" i="0" u="none" baseline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912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9" r:id="rId1"/>
    <p:sldLayoutId id="2147485110" r:id="rId2"/>
    <p:sldLayoutId id="2147485111" r:id="rId3"/>
    <p:sldLayoutId id="2147485112" r:id="rId4"/>
    <p:sldLayoutId id="2147485113" r:id="rId5"/>
    <p:sldLayoutId id="2147485114" r:id="rId6"/>
    <p:sldLayoutId id="2147485115" r:id="rId7"/>
    <p:sldLayoutId id="2147485116" r:id="rId8"/>
    <p:sldLayoutId id="2147485117" r:id="rId9"/>
    <p:sldLayoutId id="2147485118" r:id="rId10"/>
    <p:sldLayoutId id="2147485119" r:id="rId11"/>
    <p:sldLayoutId id="2147485120" r:id="rId12"/>
    <p:sldLayoutId id="2147485121" r:id="rId13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ct val="50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17525" indent="-1762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863600" indent="-1809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1200150" indent="-1762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000">
          <a:solidFill>
            <a:schemeClr val="tx1"/>
          </a:solidFill>
          <a:latin typeface="+mn-lt"/>
        </a:defRPr>
      </a:lvl4pPr>
      <a:lvl5pPr marL="1543050" indent="-166688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>
          <a:solidFill>
            <a:schemeClr val="tx1"/>
          </a:solidFill>
          <a:latin typeface="+mn-lt"/>
        </a:defRPr>
      </a:lvl5pPr>
      <a:lvl6pPr marL="2000250" indent="-166688" algn="l" rtl="0" fontAlgn="base">
        <a:spcBef>
          <a:spcPct val="20000"/>
        </a:spcBef>
        <a:spcAft>
          <a:spcPct val="0"/>
        </a:spcAft>
        <a:buFont typeface="Arial" charset="0"/>
        <a:defRPr sz="1200">
          <a:solidFill>
            <a:schemeClr val="tx1"/>
          </a:solidFill>
          <a:latin typeface="+mn-lt"/>
        </a:defRPr>
      </a:lvl6pPr>
      <a:lvl7pPr marL="2457450" indent="-166688" algn="l" rtl="0" fontAlgn="base">
        <a:spcBef>
          <a:spcPct val="20000"/>
        </a:spcBef>
        <a:spcAft>
          <a:spcPct val="0"/>
        </a:spcAft>
        <a:buFont typeface="Arial" charset="0"/>
        <a:defRPr sz="1200">
          <a:solidFill>
            <a:schemeClr val="tx1"/>
          </a:solidFill>
          <a:latin typeface="+mn-lt"/>
        </a:defRPr>
      </a:lvl7pPr>
      <a:lvl8pPr marL="2914650" indent="-166688" algn="l" rtl="0" fontAlgn="base">
        <a:spcBef>
          <a:spcPct val="20000"/>
        </a:spcBef>
        <a:spcAft>
          <a:spcPct val="0"/>
        </a:spcAft>
        <a:buFont typeface="Arial" charset="0"/>
        <a:defRPr sz="1200">
          <a:solidFill>
            <a:schemeClr val="tx1"/>
          </a:solidFill>
          <a:latin typeface="+mn-lt"/>
        </a:defRPr>
      </a:lvl8pPr>
      <a:lvl9pPr marL="3371850" indent="-166688" algn="l" rtl="0" fontAlgn="base">
        <a:spcBef>
          <a:spcPct val="20000"/>
        </a:spcBef>
        <a:spcAft>
          <a:spcPct val="0"/>
        </a:spcAft>
        <a:buFont typeface="Arial" charset="0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47432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5" name="think-cell Slide" r:id="rId13" imgW="572" imgH="429" progId="TCLayout.ActiveDocument.1">
                  <p:embed/>
                </p:oleObj>
              </mc:Choice>
              <mc:Fallback>
                <p:oleObj name="think-cell Slide" r:id="rId13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l" descr="Information Classification: Company Internal"/>
          <p:cNvSpPr txBox="1"/>
          <p:nvPr userDrawn="1"/>
        </p:nvSpPr>
        <p:spPr>
          <a:xfrm>
            <a:off x="0" y="6530340"/>
            <a:ext cx="9144000" cy="2308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en-US" sz="900" b="0" i="0" u="none" baseline="0" smtClean="0">
                <a:solidFill>
                  <a:srgbClr val="000000"/>
                </a:solidFill>
                <a:latin typeface="Arial"/>
              </a:rPr>
              <a:t>Information Classification: Company Internal</a:t>
            </a:r>
            <a:endParaRPr lang="en-US" sz="900" b="0" i="0" u="none" baseline="0" dirty="0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5312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6" r:id="rId1"/>
    <p:sldLayoutId id="2147485137" r:id="rId2"/>
    <p:sldLayoutId id="2147485138" r:id="rId3"/>
    <p:sldLayoutId id="2147485139" r:id="rId4"/>
    <p:sldLayoutId id="2147485140" r:id="rId5"/>
    <p:sldLayoutId id="2147485141" r:id="rId6"/>
    <p:sldLayoutId id="2147485142" r:id="rId7"/>
    <p:sldLayoutId id="2147485143" r:id="rId8"/>
    <p:sldLayoutId id="214748514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634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0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94220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1678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090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81804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1403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1022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1&quot;&gt;&lt;elem m_fUsage=&quot;3.14023739204589130000E+000&quot;&gt;&lt;m_ppcolschidx val=&quot;0&quot;/&gt;&lt;m_rgb r=&quot;61&quot; g=&quot;75&quot; b=&quot;95&quot;/&gt;&lt;/elem&gt;&lt;elem m_fUsage=&quot;1.47773295027519860000E+000&quot;&gt;&lt;m_ppcolschidx val=&quot;0&quot;/&gt;&lt;m_rgb r=&quot;ff&quot; g=&quot;fb&quot; b=&quot;55&quot;/&gt;&lt;/elem&gt;&lt;elem m_fUsage=&quot;1.46610000000000000000E+000&quot;&gt;&lt;m_ppcolschidx val=&quot;0&quot;/&gt;&lt;m_rgb r=&quot;b5&quot; g=&quot;a5&quot; b=&quot;ab&quot;/&gt;&lt;/elem&gt;&lt;elem m_fUsage=&quot;1.26044100000000010000E+000&quot;&gt;&lt;m_ppcolschidx val=&quot;0&quot;/&gt;&lt;m_rgb r=&quot;b4&quot; g=&quot;b4&quot; b=&quot;ba&quot;/&gt;&lt;/elem&gt;&lt;elem m_fUsage=&quot;1.00000000000000000000E+000&quot;&gt;&lt;m_ppcolschidx val=&quot;0&quot;/&gt;&lt;m_rgb r=&quot;ff&quot; g=&quot;fd&quot; b=&quot;a6&quot;/&gt;&lt;/elem&gt;&lt;elem m_fUsage=&quot;5.90490000000000180000E-001&quot;&gt;&lt;m_ppcolschidx val=&quot;0&quot;/&gt;&lt;m_rgb r=&quot;94&quot; g=&quot;92&quot; b=&quot;c0&quot;/&gt;&lt;/elem&gt;&lt;elem m_fUsage=&quot;3.13810596090000170000E-001&quot;&gt;&lt;m_ppcolschidx val=&quot;0&quot;/&gt;&lt;m_rgb r=&quot;4f&quot; g=&quot;68&quot; b=&quot;5a&quot;/&gt;&lt;/elem&gt;&lt;elem m_fUsage=&quot;2.90883636279250960000E-001&quot;&gt;&lt;m_ppcolschidx val=&quot;0&quot;/&gt;&lt;m_rgb r=&quot;50&quot; g=&quot;d&quot; b=&quot;aa&quot;/&gt;&lt;/elem&gt;&lt;elem m_fUsage=&quot;2.82429536481000170000E-001&quot;&gt;&lt;m_ppcolschidx val=&quot;0&quot;/&gt;&lt;m_rgb r=&quot;57&quot; g=&quot;61&quot; b=&quot;7b&quot;/&gt;&lt;/elem&gt;&lt;elem m_fUsage=&quot;5.81497370030401100000E-002&quot;&gt;&lt;m_ppcolschidx val=&quot;0&quot;/&gt;&lt;m_rgb r=&quot;71&quot; g=&quot;c1&quot; b=&quot;4&quot;/&gt;&lt;/elem&gt;&lt;elem m_fUsage=&quot;1.19725151825620330000E-002&quot;&gt;&lt;m_ppcolschidx val=&quot;0&quot;/&gt;&lt;m_rgb r=&quot;55&quot; g=&quot;61&quot; b=&quot;7d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0&quot;/&gt;&lt;elem&gt;&lt;m_nPartnerID val=&quot;612&quot;/&gt;&lt;m_nIndex val=&quot;3&quot;/&gt;&lt;/elem&gt;&lt;key val=&quot;2&quot;/&gt;&lt;elem&gt;&lt;m_nPartnerID val=&quot;612&quot;/&gt;&lt;m_nIndex val=&quot;4&quot;/&gt;&lt;/elem&gt;&lt;key val=&quot;4&quot;/&gt;&lt;elem&gt;&lt;m_nPartnerID val=&quot;612&quot;/&gt;&lt;m_nIndex val=&quot;1&quot;/&gt;&lt;/elem&gt;&lt;key val=&quot;11&quot;/&gt;&lt;elem&gt;&lt;m_nPartnerID val=&quot;612&quot;/&gt;&lt;m_nIndex val=&quot;4&quot;/&gt;&lt;/elem&gt;&lt;key val=&quot;12&quot;/&gt;&lt;elem&gt;&lt;m_nPartnerID val=&quot;612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58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T Corp Template v1_1.15">
  <a:themeElements>
    <a:clrScheme name="STT 1.15">
      <a:dk1>
        <a:srgbClr val="000000"/>
      </a:dk1>
      <a:lt1>
        <a:srgbClr val="FFFFFF"/>
      </a:lt1>
      <a:dk2>
        <a:srgbClr val="E4ECF0"/>
      </a:dk2>
      <a:lt2>
        <a:srgbClr val="0A2F5D"/>
      </a:lt2>
      <a:accent1>
        <a:srgbClr val="007298"/>
      </a:accent1>
      <a:accent2>
        <a:srgbClr val="65CCE9"/>
      </a:accent2>
      <a:accent3>
        <a:srgbClr val="F56E00"/>
      </a:accent3>
      <a:accent4>
        <a:srgbClr val="5E4565"/>
      </a:accent4>
      <a:accent5>
        <a:srgbClr val="A5A5A5"/>
      </a:accent5>
      <a:accent6>
        <a:srgbClr val="00AE79"/>
      </a:accent6>
      <a:hlink>
        <a:srgbClr val="0A2F5D"/>
      </a:hlink>
      <a:folHlink>
        <a:srgbClr val="0A2F5D"/>
      </a:folHlink>
    </a:clrScheme>
    <a:fontScheme name="STT 1.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</a:spPr>
      <a:bodyPr lIns="0" tIns="0" rIns="0" bIns="0" rtlCol="0" anchor="ctr" anchorCtr="1"/>
      <a:lstStyle>
        <a:defPPr algn="ctr">
          <a:defRPr sz="1600" dirty="0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5"/>
        </a:lnRef>
        <a:fillRef idx="0">
          <a:schemeClr val="accent5"/>
        </a:fillRef>
        <a:effectRef idx="0">
          <a:schemeClr val="accent5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ody &amp; Break">
  <a:themeElements>
    <a:clrScheme name="Custom 2">
      <a:dk1>
        <a:srgbClr val="000000"/>
      </a:dk1>
      <a:lt1>
        <a:srgbClr val="969696"/>
      </a:lt1>
      <a:dk2>
        <a:srgbClr val="000000"/>
      </a:dk2>
      <a:lt2>
        <a:srgbClr val="FFFFFF"/>
      </a:lt2>
      <a:accent1>
        <a:srgbClr val="0055AD"/>
      </a:accent1>
      <a:accent2>
        <a:srgbClr val="E28100"/>
      </a:accent2>
      <a:accent3>
        <a:srgbClr val="C9C9C9"/>
      </a:accent3>
      <a:accent4>
        <a:srgbClr val="000000"/>
      </a:accent4>
      <a:accent5>
        <a:srgbClr val="AAB4D3"/>
      </a:accent5>
      <a:accent6>
        <a:srgbClr val="CD7400"/>
      </a:accent6>
      <a:hlink>
        <a:srgbClr val="0055AD"/>
      </a:hlink>
      <a:folHlink>
        <a:srgbClr val="E28100"/>
      </a:folHlink>
    </a:clrScheme>
    <a:fontScheme name="Body &amp; Brea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ody &amp; Break 1">
        <a:dk1>
          <a:srgbClr val="000000"/>
        </a:dk1>
        <a:lt1>
          <a:srgbClr val="969696"/>
        </a:lt1>
        <a:dk2>
          <a:srgbClr val="0055AD"/>
        </a:dk2>
        <a:lt2>
          <a:srgbClr val="FFFFFF"/>
        </a:lt2>
        <a:accent1>
          <a:srgbClr val="0055AD"/>
        </a:accent1>
        <a:accent2>
          <a:srgbClr val="E28100"/>
        </a:accent2>
        <a:accent3>
          <a:srgbClr val="C9C9C9"/>
        </a:accent3>
        <a:accent4>
          <a:srgbClr val="000000"/>
        </a:accent4>
        <a:accent5>
          <a:srgbClr val="AAB4D3"/>
        </a:accent5>
        <a:accent6>
          <a:srgbClr val="CD7400"/>
        </a:accent6>
        <a:hlink>
          <a:srgbClr val="AABC00"/>
        </a:hlink>
        <a:folHlink>
          <a:srgbClr val="53A5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dy &amp; Break 2">
        <a:dk1>
          <a:srgbClr val="000000"/>
        </a:dk1>
        <a:lt1>
          <a:srgbClr val="969696"/>
        </a:lt1>
        <a:dk2>
          <a:srgbClr val="000000"/>
        </a:dk2>
        <a:lt2>
          <a:srgbClr val="FFFFFF"/>
        </a:lt2>
        <a:accent1>
          <a:srgbClr val="0055AD"/>
        </a:accent1>
        <a:accent2>
          <a:srgbClr val="E28100"/>
        </a:accent2>
        <a:accent3>
          <a:srgbClr val="C9C9C9"/>
        </a:accent3>
        <a:accent4>
          <a:srgbClr val="000000"/>
        </a:accent4>
        <a:accent5>
          <a:srgbClr val="AAB4D3"/>
        </a:accent5>
        <a:accent6>
          <a:srgbClr val="CD7400"/>
        </a:accent6>
        <a:hlink>
          <a:srgbClr val="AABC00"/>
        </a:hlink>
        <a:folHlink>
          <a:srgbClr val="53A5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TT Corp Template v1_1.15">
  <a:themeElements>
    <a:clrScheme name="STT 1.15">
      <a:dk1>
        <a:srgbClr val="000000"/>
      </a:dk1>
      <a:lt1>
        <a:srgbClr val="FFFFFF"/>
      </a:lt1>
      <a:dk2>
        <a:srgbClr val="E4ECF0"/>
      </a:dk2>
      <a:lt2>
        <a:srgbClr val="0A2F5D"/>
      </a:lt2>
      <a:accent1>
        <a:srgbClr val="007298"/>
      </a:accent1>
      <a:accent2>
        <a:srgbClr val="65CCE9"/>
      </a:accent2>
      <a:accent3>
        <a:srgbClr val="F56E00"/>
      </a:accent3>
      <a:accent4>
        <a:srgbClr val="5E4565"/>
      </a:accent4>
      <a:accent5>
        <a:srgbClr val="A5A5A5"/>
      </a:accent5>
      <a:accent6>
        <a:srgbClr val="00AE79"/>
      </a:accent6>
      <a:hlink>
        <a:srgbClr val="0A2F5D"/>
      </a:hlink>
      <a:folHlink>
        <a:srgbClr val="0A2F5D"/>
      </a:folHlink>
    </a:clrScheme>
    <a:fontScheme name="STT 1.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3598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lIns="36000" rIns="0"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>
            <a:ln>
              <a:noFill/>
            </a:ln>
            <a:solidFill>
              <a:srgbClr val="FFFFFF"/>
            </a:solidFill>
            <a:effectLst/>
            <a:uLnTx/>
            <a:uFillTx/>
          </a:defRPr>
        </a:defPPr>
      </a:lstStyle>
    </a:spDef>
    <a:lnDef>
      <a:spPr>
        <a:ln w="12700"/>
      </a:spPr>
      <a:bodyPr/>
      <a:lstStyle/>
      <a:style>
        <a:lnRef idx="1">
          <a:schemeClr val="accent5"/>
        </a:lnRef>
        <a:fillRef idx="0">
          <a:schemeClr val="accent5"/>
        </a:fillRef>
        <a:effectRef idx="0">
          <a:schemeClr val="accent5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02C47E8D3B634A90E75F11EAC1503A" ma:contentTypeVersion="0" ma:contentTypeDescription="Create a new document." ma:contentTypeScope="" ma:versionID="62477a81ba8567df3451d0e84e972e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6E01BF3-282D-4132-9123-506B163458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5B34DC-9349-44DD-8DC5-8D8C135E90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346E7A4-9B11-4DF8-AD2F-BB313E323622}">
  <ds:schemaRefs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020</TotalTime>
  <Words>1</Words>
  <Application>Microsoft Office PowerPoint</Application>
  <PresentationFormat>On-screen Show (4:3)</PresentationFormat>
  <Paragraphs>1</Paragraphs>
  <Slides>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STT Corp Template v1_1.15</vt:lpstr>
      <vt:lpstr>Body &amp; Break</vt:lpstr>
      <vt:lpstr>1_STT Corp Template v1_1.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tate Stree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Zhu, Qiwei</dc:creator>
  <cp:lastModifiedBy>Zhang, Yan (Jane)</cp:lastModifiedBy>
  <cp:revision>10777</cp:revision>
  <cp:lastPrinted>2016-02-04T10:09:48Z</cp:lastPrinted>
  <dcterms:created xsi:type="dcterms:W3CDTF">2009-04-27T14:28:38Z</dcterms:created>
  <dcterms:modified xsi:type="dcterms:W3CDTF">2019-07-10T12:3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sset Type">
    <vt:lpwstr>Print</vt:lpwstr>
  </property>
  <property fmtid="{D5CDD505-2E9C-101B-9397-08002B2CF9AE}" pid="3" name="Business Unit">
    <vt:lpwstr>State Street Corporation</vt:lpwstr>
  </property>
  <property fmtid="{D5CDD505-2E9C-101B-9397-08002B2CF9AE}" pid="4" name="Order">
    <vt:lpwstr>3100.00000000000</vt:lpwstr>
  </property>
  <property fmtid="{D5CDD505-2E9C-101B-9397-08002B2CF9AE}" pid="5" name="TitusGUID">
    <vt:lpwstr>326c8325-5d70-4b12-bf36-8c3813557492</vt:lpwstr>
  </property>
  <property fmtid="{D5CDD505-2E9C-101B-9397-08002B2CF9AE}" pid="6" name="SSCClassification">
    <vt:lpwstr>CI</vt:lpwstr>
  </property>
  <property fmtid="{D5CDD505-2E9C-101B-9397-08002B2CF9AE}" pid="7" name="SSCVisualMarks">
    <vt:lpwstr>Y</vt:lpwstr>
  </property>
</Properties>
</file>